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7" r:id="rId4"/>
    <p:sldMasterId id="2147483766" r:id="rId5"/>
    <p:sldMasterId id="2147483770" r:id="rId6"/>
  </p:sldMasterIdLst>
  <p:notesMasterIdLst>
    <p:notesMasterId r:id="rId31"/>
  </p:notesMasterIdLst>
  <p:handoutMasterIdLst>
    <p:handoutMasterId r:id="rId32"/>
  </p:handoutMasterIdLst>
  <p:sldIdLst>
    <p:sldId id="256" r:id="rId7"/>
    <p:sldId id="353" r:id="rId8"/>
    <p:sldId id="354" r:id="rId9"/>
    <p:sldId id="355" r:id="rId10"/>
    <p:sldId id="356" r:id="rId11"/>
    <p:sldId id="357" r:id="rId12"/>
    <p:sldId id="358" r:id="rId13"/>
    <p:sldId id="359" r:id="rId14"/>
    <p:sldId id="360" r:id="rId15"/>
    <p:sldId id="361" r:id="rId16"/>
    <p:sldId id="362" r:id="rId17"/>
    <p:sldId id="322" r:id="rId18"/>
    <p:sldId id="366" r:id="rId19"/>
    <p:sldId id="367" r:id="rId20"/>
    <p:sldId id="326" r:id="rId21"/>
    <p:sldId id="368" r:id="rId22"/>
    <p:sldId id="369" r:id="rId23"/>
    <p:sldId id="327" r:id="rId24"/>
    <p:sldId id="372" r:id="rId25"/>
    <p:sldId id="324" r:id="rId26"/>
    <p:sldId id="325" r:id="rId27"/>
    <p:sldId id="323" r:id="rId28"/>
    <p:sldId id="320" r:id="rId29"/>
    <p:sldId id="321" r:id="rId30"/>
  </p:sldIdLst>
  <p:sldSz cx="12192000" cy="6858000"/>
  <p:notesSz cx="6858000" cy="91440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F0979153-E9D1-43CE-9177-87DA7FFC8BCC}">
          <p14:sldIdLst>
            <p14:sldId id="256"/>
          </p14:sldIdLst>
        </p14:section>
        <p14:section name="What a Rebase Looks Like" id="{711F2A68-2E00-4194-8026-85B94EAC459C}">
          <p14:sldIdLst>
            <p14:sldId id="353"/>
            <p14:sldId id="354"/>
            <p14:sldId id="355"/>
            <p14:sldId id="356"/>
            <p14:sldId id="357"/>
            <p14:sldId id="358"/>
          </p14:sldIdLst>
        </p14:section>
        <p14:section name="An Illusion of Movement" id="{E1797C82-C963-4DCC-A60B-5B1BBFD40A85}">
          <p14:sldIdLst>
            <p14:sldId id="359"/>
            <p14:sldId id="360"/>
            <p14:sldId id="361"/>
          </p14:sldIdLst>
        </p14:section>
        <p14:section name="Taking out the Garbage" id="{D35DCD1B-4899-4376-BECD-9B54E5805008}">
          <p14:sldIdLst>
            <p14:sldId id="362"/>
            <p14:sldId id="322"/>
          </p14:sldIdLst>
        </p14:section>
        <p14:section name="The Trade-offs of Merges" id="{FD9DDEC2-C40A-4221-BD8A-F05037E7FF32}">
          <p14:sldIdLst>
            <p14:sldId id="366"/>
            <p14:sldId id="367"/>
            <p14:sldId id="326"/>
          </p14:sldIdLst>
        </p14:section>
        <p14:section name="The Trade-offs of Rebases" id="{1D2E5E1C-8A87-4C61-9BB3-8F633B44D144}">
          <p14:sldIdLst>
            <p14:sldId id="368"/>
            <p14:sldId id="369"/>
            <p14:sldId id="327"/>
            <p14:sldId id="372"/>
            <p14:sldId id="324"/>
          </p14:sldIdLst>
        </p14:section>
        <p14:section name="Tags in Brief" id="{CB529127-F337-4D81-BCA9-E01E1301A2FD}">
          <p14:sldIdLst>
            <p14:sldId id="325"/>
            <p14:sldId id="323"/>
          </p14:sldIdLst>
        </p14:section>
        <p14:section name="A Version Control System" id="{DF3BA787-2432-4DF5-9553-45BCB8D5ACEB}">
          <p14:sldIdLst>
            <p14:sldId id="320"/>
            <p14:sldId id="32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58" userDrawn="1">
          <p15:clr>
            <a:srgbClr val="A4A3A4"/>
          </p15:clr>
        </p15:guide>
        <p15:guide id="2" orient="horz" pos="4226" userDrawn="1">
          <p15:clr>
            <a:srgbClr val="A4A3A4"/>
          </p15:clr>
        </p15:guide>
        <p15:guide id="3" orient="horz" pos="386" userDrawn="1">
          <p15:clr>
            <a:srgbClr val="A4A3A4"/>
          </p15:clr>
        </p15:guide>
        <p15:guide id="4" orient="horz" pos="989" userDrawn="1">
          <p15:clr>
            <a:srgbClr val="A4A3A4"/>
          </p15:clr>
        </p15:guide>
        <p15:guide id="5" orient="horz" pos="4082" userDrawn="1">
          <p15:clr>
            <a:srgbClr val="A4A3A4"/>
          </p15:clr>
        </p15:guide>
        <p15:guide id="6" orient="horz" pos="4246" userDrawn="1">
          <p15:clr>
            <a:srgbClr val="A4A3A4"/>
          </p15:clr>
        </p15:guide>
        <p15:guide id="7" orient="horz" pos="2326" userDrawn="1">
          <p15:clr>
            <a:srgbClr val="A4A3A4"/>
          </p15:clr>
        </p15:guide>
        <p15:guide id="8" orient="horz" pos="3805" userDrawn="1">
          <p15:clr>
            <a:srgbClr val="A4A3A4"/>
          </p15:clr>
        </p15:guide>
        <p15:guide id="9" orient="horz" pos="3648" userDrawn="1">
          <p15:clr>
            <a:srgbClr val="A4A3A4"/>
          </p15:clr>
        </p15:guide>
        <p15:guide id="10" orient="horz" pos="629" userDrawn="1">
          <p15:clr>
            <a:srgbClr val="A4A3A4"/>
          </p15:clr>
        </p15:guide>
        <p15:guide id="11" orient="horz" pos="4119" userDrawn="1">
          <p15:clr>
            <a:srgbClr val="A4A3A4"/>
          </p15:clr>
        </p15:guide>
        <p15:guide id="12" orient="horz" pos="4177" userDrawn="1">
          <p15:clr>
            <a:srgbClr val="A4A3A4"/>
          </p15:clr>
        </p15:guide>
        <p15:guide id="13" orient="horz" pos="1301" userDrawn="1">
          <p15:clr>
            <a:srgbClr val="A4A3A4"/>
          </p15:clr>
        </p15:guide>
        <p15:guide id="14" orient="horz" pos="2800" userDrawn="1">
          <p15:clr>
            <a:srgbClr val="A4A3A4"/>
          </p15:clr>
        </p15:guide>
        <p15:guide id="15" pos="3840" userDrawn="1">
          <p15:clr>
            <a:srgbClr val="A4A3A4"/>
          </p15:clr>
        </p15:guide>
        <p15:guide id="16" pos="7469" userDrawn="1">
          <p15:clr>
            <a:srgbClr val="A4A3A4"/>
          </p15:clr>
        </p15:guide>
        <p15:guide id="17" pos="304" userDrawn="1">
          <p15:clr>
            <a:srgbClr val="A4A3A4"/>
          </p15:clr>
        </p15:guide>
        <p15:guide id="18" pos="7392" userDrawn="1">
          <p15:clr>
            <a:srgbClr val="A4A3A4"/>
          </p15:clr>
        </p15:guide>
        <p15:guide id="19" pos="619" userDrawn="1">
          <p15:clr>
            <a:srgbClr val="A4A3A4"/>
          </p15:clr>
        </p15:guide>
        <p15:guide id="20" pos="207" userDrawn="1">
          <p15:clr>
            <a:srgbClr val="A4A3A4"/>
          </p15:clr>
        </p15:guide>
        <p15:guide id="21" pos="4001" userDrawn="1">
          <p15:clr>
            <a:srgbClr val="A4A3A4"/>
          </p15:clr>
        </p15:guide>
        <p15:guide id="22" pos="7063" userDrawn="1">
          <p15:clr>
            <a:srgbClr val="A4A3A4"/>
          </p15:clr>
        </p15:guide>
        <p15:guide id="23" pos="504" userDrawn="1">
          <p15:clr>
            <a:srgbClr val="A4A3A4"/>
          </p15:clr>
        </p15:guide>
        <p15:guide id="24" pos="36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uzade, Clement" initials="SC" lastIdx="1" clrIdx="0">
    <p:extLst/>
  </p:cmAuthor>
  <p:cmAuthor id="2" name="D'ENFERT Antonin" initials="DA" lastIdx="2" clrIdx="1">
    <p:extLst>
      <p:ext uri="{19B8F6BF-5375-455C-9EA6-DF929625EA0E}">
        <p15:presenceInfo xmlns:p15="http://schemas.microsoft.com/office/powerpoint/2012/main" userId="D'ENFERT Antonin" providerId="None"/>
      </p:ext>
    </p:extLst>
  </p:cmAuthor>
  <p:cmAuthor id="3" name="MOURET Thomas" initials="MT" lastIdx="3" clrIdx="2">
    <p:extLst>
      <p:ext uri="{19B8F6BF-5375-455C-9EA6-DF929625EA0E}">
        <p15:presenceInfo xmlns:p15="http://schemas.microsoft.com/office/powerpoint/2012/main" userId="MOURET Thoma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DD7F"/>
    <a:srgbClr val="66FF99"/>
    <a:srgbClr val="00FF99"/>
    <a:srgbClr val="AFAFAF"/>
    <a:srgbClr val="0079D6"/>
    <a:srgbClr val="FF6600"/>
    <a:srgbClr val="4B5A61"/>
    <a:srgbClr val="D66571"/>
    <a:srgbClr val="A6A6A6"/>
    <a:srgbClr val="C3C4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63" autoAdjust="0"/>
    <p:restoredTop sz="85037" autoAdjust="0"/>
  </p:normalViewPr>
  <p:slideViewPr>
    <p:cSldViewPr snapToGrid="0" showGuides="1">
      <p:cViewPr varScale="1">
        <p:scale>
          <a:sx n="71" d="100"/>
          <a:sy n="71" d="100"/>
        </p:scale>
        <p:origin x="78" y="192"/>
      </p:cViewPr>
      <p:guideLst>
        <p:guide orient="horz" pos="2158"/>
        <p:guide orient="horz" pos="4226"/>
        <p:guide orient="horz" pos="386"/>
        <p:guide orient="horz" pos="989"/>
        <p:guide orient="horz" pos="4082"/>
        <p:guide orient="horz" pos="4246"/>
        <p:guide orient="horz" pos="2326"/>
        <p:guide orient="horz" pos="3805"/>
        <p:guide orient="horz" pos="3648"/>
        <p:guide orient="horz" pos="629"/>
        <p:guide orient="horz" pos="4119"/>
        <p:guide orient="horz" pos="4177"/>
        <p:guide orient="horz" pos="1301"/>
        <p:guide orient="horz" pos="2800"/>
        <p:guide pos="3840"/>
        <p:guide pos="7469"/>
        <p:guide pos="304"/>
        <p:guide pos="7392"/>
        <p:guide pos="619"/>
        <p:guide pos="207"/>
        <p:guide pos="4001"/>
        <p:guide pos="7063"/>
        <p:guide pos="504"/>
        <p:guide pos="36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456"/>
    </p:cViewPr>
  </p:sorterViewPr>
  <p:notesViewPr>
    <p:cSldViewPr snapToGrid="0" showGuides="1">
      <p:cViewPr varScale="1">
        <p:scale>
          <a:sx n="85" d="100"/>
          <a:sy n="85" d="100"/>
        </p:scale>
        <p:origin x="2088" y="84"/>
      </p:cViewPr>
      <p:guideLst>
        <p:guide orient="horz" pos="2880"/>
        <p:guide pos="2160"/>
      </p:guideLst>
    </p:cSldViewPr>
  </p:notesViewPr>
  <p:gridSpacing cx="180000" cy="180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Relationship Id="rId43" Type="http://schemas.microsoft.com/office/2015/10/relationships/revisionInfo" Target="revisionInfo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>
              <a:latin typeface="Century Gothic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97110-58D1-4B08-BE59-907D76DEA1EA}" type="datetimeFigureOut">
              <a:rPr lang="fr-FR" smtClean="0">
                <a:latin typeface="Century Gothic" pitchFamily="34" charset="0"/>
              </a:rPr>
              <a:pPr/>
              <a:t>25/12/2017</a:t>
            </a:fld>
            <a:endParaRPr lang="fr-FR">
              <a:latin typeface="Century Gothic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20653-8663-42A7-A389-D0316F5AB622}" type="slidenum">
              <a:rPr lang="fr-FR" smtClean="0">
                <a:latin typeface="Century Gothic" pitchFamily="34" charset="0"/>
              </a:rPr>
              <a:pPr/>
              <a:t>‹#›</a:t>
            </a:fld>
            <a:endParaRPr lang="fr-FR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953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FDCDEFE6-5B54-4838-86E6-97123BEF1300}" type="datetimeFigureOut">
              <a:rPr lang="fr-FR" smtClean="0"/>
              <a:pPr/>
              <a:t>25/12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903BB967-652B-44E3-AC85-B50B589029DD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90724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3_lab01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39827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Pourquoi</a:t>
            </a:r>
            <a:r>
              <a:rPr lang="fr-FR" baseline="0" dirty="0" smtClean="0"/>
              <a:t>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 existe si on a déjà le </a:t>
            </a:r>
            <a:r>
              <a:rPr lang="fr-FR" baseline="0" dirty="0" err="1" smtClean="0"/>
              <a:t>merge</a:t>
            </a:r>
            <a:r>
              <a:rPr lang="fr-FR" baseline="0" dirty="0" smtClean="0"/>
              <a:t> ?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37366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L’historique</a:t>
            </a:r>
            <a:r>
              <a:rPr lang="fr-FR" baseline="0" dirty="0" smtClean="0"/>
              <a:t> apparait plus linéaire et plus compréhensible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7875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r>
              <a:rPr lang="fr-FR" dirty="0" smtClean="0"/>
              <a:t> crée de nouveaux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et réécrit l’historique pour qu’elle apparaisse plus fluide.</a:t>
            </a:r>
          </a:p>
          <a:p>
            <a:r>
              <a:rPr lang="fr-FR" baseline="0" dirty="0" err="1" smtClean="0"/>
              <a:t>It’s</a:t>
            </a:r>
            <a:r>
              <a:rPr lang="fr-FR" baseline="0" dirty="0" smtClean="0"/>
              <a:t> a lie!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934746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On a l’impression que les </a:t>
            </a:r>
            <a:r>
              <a:rPr lang="fr-FR" dirty="0" err="1" smtClean="0"/>
              <a:t>commits</a:t>
            </a:r>
            <a:r>
              <a:rPr lang="fr-FR" dirty="0" smtClean="0"/>
              <a:t> en</a:t>
            </a:r>
            <a:r>
              <a:rPr lang="fr-FR" baseline="0" dirty="0" smtClean="0"/>
              <a:t> jaune ont été créés avant ceux en bleus, ce qui n’est pas forcément le cas 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aseline="0" dirty="0" smtClean="0"/>
              <a:t>Un scénario où ça peut poser problème : voir le module 4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73072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r>
              <a:rPr lang="fr-FR" dirty="0" smtClean="0"/>
              <a:t> est utile</a:t>
            </a:r>
            <a:r>
              <a:rPr lang="fr-FR" baseline="0" dirty="0" smtClean="0"/>
              <a:t> et puissant, mais à utiliser quand on sait ce qu’on fait et quand on connait les effets secondair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72302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En comparaison, un </a:t>
            </a:r>
            <a:r>
              <a:rPr lang="fr-FR" dirty="0" err="1" smtClean="0"/>
              <a:t>annotated</a:t>
            </a:r>
            <a:r>
              <a:rPr lang="fr-FR" dirty="0" smtClean="0"/>
              <a:t>-tag est stocké comme un</a:t>
            </a:r>
            <a:r>
              <a:rPr lang="fr-FR" baseline="0" dirty="0" smtClean="0"/>
              <a:t> objet à part entière, avec son propre SHA1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2682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etour à la</a:t>
            </a:r>
            <a:r>
              <a:rPr lang="fr-FR" baseline="0" dirty="0" smtClean="0"/>
              <a:t> démo à la fin du slid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064208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Expliquer</a:t>
            </a:r>
            <a:r>
              <a:rPr lang="fr-FR" baseline="0" dirty="0" smtClean="0"/>
              <a:t> qu’on ne peut pas « détacher » un commit parce que c’est un objet dans la base, immuable et que son SHA1 serait modifié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11760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Si on change</a:t>
            </a:r>
            <a:r>
              <a:rPr lang="fr-FR" baseline="0" dirty="0" smtClean="0"/>
              <a:t> parent du premier commit, il faut changer son SHA1. Si on change son SHA1, le contenu et le SHA1 du second commit doivent changer également,</a:t>
            </a:r>
          </a:p>
          <a:p>
            <a:r>
              <a:rPr lang="fr-FR" baseline="0" dirty="0" smtClean="0"/>
              <a:t>Conclusion : lors d’un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, les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« </a:t>
            </a:r>
            <a:r>
              <a:rPr lang="fr-FR" baseline="0" dirty="0" err="1" smtClean="0"/>
              <a:t>rebasés</a:t>
            </a:r>
            <a:r>
              <a:rPr lang="fr-FR" baseline="0" dirty="0" smtClean="0"/>
              <a:t> » ont un nouveau parent, un nouveau SHA1, et donc ce sont des nouveaux objet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26971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De</a:t>
            </a:r>
            <a:r>
              <a:rPr lang="fr-FR" baseline="0" dirty="0" smtClean="0"/>
              <a:t> nouveaux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sont créés, copiés à partir des commit à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, en modifiant le parent, avec un nouveau SHA1.</a:t>
            </a:r>
          </a:p>
          <a:p>
            <a:r>
              <a:rPr lang="fr-FR" baseline="0" dirty="0" smtClean="0"/>
              <a:t>Pour terminer git déplace la branche (</a:t>
            </a:r>
            <a:r>
              <a:rPr lang="fr-FR" baseline="0" dirty="0" err="1" smtClean="0"/>
              <a:t>ref</a:t>
            </a:r>
            <a:r>
              <a:rPr lang="fr-FR" baseline="0" dirty="0" smtClean="0"/>
              <a:t>) et laisse les anciens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(</a:t>
            </a:r>
            <a:r>
              <a:rPr lang="fr-FR" baseline="0" dirty="0" err="1" smtClean="0"/>
              <a:t>unreachable</a:t>
            </a:r>
            <a:r>
              <a:rPr lang="fr-FR" baseline="0" dirty="0" smtClean="0"/>
              <a:t>)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7808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Que se passe t-il pour ces deux </a:t>
            </a:r>
            <a:r>
              <a:rPr lang="fr-FR" dirty="0" err="1" smtClean="0"/>
              <a:t>commits</a:t>
            </a:r>
            <a:r>
              <a:rPr lang="fr-FR" baseline="0" dirty="0" smtClean="0"/>
              <a:t> ? Ils ne sont référencés nulle part et seront supprimé par le GC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777002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Pourquoi</a:t>
            </a:r>
            <a:r>
              <a:rPr lang="fr-FR" baseline="0" dirty="0" smtClean="0"/>
              <a:t>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 existe si on a déjà le </a:t>
            </a:r>
            <a:r>
              <a:rPr lang="fr-FR" baseline="0" dirty="0" err="1" smtClean="0"/>
              <a:t>merge</a:t>
            </a:r>
            <a:r>
              <a:rPr lang="fr-FR" baseline="0" dirty="0" smtClean="0"/>
              <a:t> ?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46089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nserve</a:t>
            </a:r>
            <a:r>
              <a:rPr lang="fr-FR" baseline="0" dirty="0" smtClean="0"/>
              <a:t> l’historique. En cas de conflit, le commit final inclut ces changements,</a:t>
            </a:r>
          </a:p>
          <a:p>
            <a:r>
              <a:rPr lang="fr-FR" baseline="0" dirty="0" smtClean="0"/>
              <a:t>Démo : montrer un projet complexe dans </a:t>
            </a:r>
            <a:r>
              <a:rPr lang="fr-FR" baseline="0" dirty="0" err="1" smtClean="0"/>
              <a:t>SourceTree</a:t>
            </a:r>
            <a:r>
              <a:rPr lang="fr-FR" baseline="0" dirty="0" smtClean="0"/>
              <a:t> pour voir l’historique et les différents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dans les branches. Montrer un git log en ligne de commande pour montrer l’impression que l’historique apparait comme linéai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5371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Merge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never</a:t>
            </a:r>
            <a:r>
              <a:rPr lang="fr-FR" baseline="0" dirty="0" smtClean="0"/>
              <a:t> li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0757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5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3784602" y="1104901"/>
            <a:ext cx="5631191" cy="4916387"/>
          </a:xfrm>
        </p:spPr>
        <p:txBody>
          <a:bodyPr anchor="ctr" anchorCtr="0"/>
          <a:lstStyle>
            <a:lvl1pPr marL="401241" indent="-401241">
              <a:spcBef>
                <a:spcPts val="15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900" b="0">
                <a:solidFill>
                  <a:srgbClr val="004563"/>
                </a:solidFill>
                <a:latin typeface="Century Gothic" pitchFamily="34" charset="0"/>
              </a:defRPr>
            </a:lvl2pPr>
            <a:lvl3pPr marL="135731" indent="-135731">
              <a:buClr>
                <a:srgbClr val="004563"/>
              </a:buClr>
              <a:defRPr sz="900" b="1">
                <a:latin typeface="Century Gothic" pitchFamily="34" charset="0"/>
              </a:defRPr>
            </a:lvl3pPr>
            <a:lvl4pPr marL="135731" indent="0">
              <a:defRPr sz="900">
                <a:latin typeface="Century Gothic" pitchFamily="34" charset="0"/>
              </a:defRPr>
            </a:lvl4pPr>
            <a:lvl5pPr marL="271463" indent="-135731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9415803" y="1100208"/>
            <a:ext cx="762663" cy="4916387"/>
          </a:xfrm>
        </p:spPr>
        <p:txBody>
          <a:bodyPr anchor="ctr" anchorCtr="0"/>
          <a:lstStyle>
            <a:lvl1pPr marL="401241" indent="-401241" algn="r">
              <a:spcBef>
                <a:spcPts val="15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900" b="0">
                <a:solidFill>
                  <a:schemeClr val="tx2"/>
                </a:solidFill>
                <a:latin typeface="Century Gothic" pitchFamily="34" charset="0"/>
              </a:defRPr>
            </a:lvl2pPr>
            <a:lvl3pPr marL="135731" indent="-135731" algn="r">
              <a:buClr>
                <a:schemeClr val="tx2"/>
              </a:buClr>
              <a:defRPr sz="900" b="1">
                <a:latin typeface="Century Gothic" pitchFamily="34" charset="0"/>
              </a:defRPr>
            </a:lvl3pPr>
            <a:lvl4pPr marL="135731" indent="0" algn="r">
              <a:defRPr sz="900">
                <a:latin typeface="Century Gothic" pitchFamily="34" charset="0"/>
              </a:defRPr>
            </a:lvl4pPr>
            <a:lvl5pPr marL="271463" indent="-135731" algn="r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</p:spTree>
    <p:extLst>
      <p:ext uri="{BB962C8B-B14F-4D97-AF65-F5344CB8AC3E}">
        <p14:creationId xmlns:p14="http://schemas.microsoft.com/office/powerpoint/2010/main" val="36036124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555089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240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20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6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48463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982133" y="2224088"/>
            <a:ext cx="10229851" cy="3816350"/>
          </a:xfrm>
        </p:spPr>
        <p:txBody>
          <a:bodyPr>
            <a:normAutofit/>
          </a:bodyPr>
          <a:lstStyle>
            <a:lvl1pPr>
              <a:buFontTx/>
              <a:buNone/>
              <a:defRPr sz="1050"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14575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352542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791279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6209533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963919" y="3902472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6342189" y="3902472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6671806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423918" y="1570038"/>
            <a:ext cx="4788071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spcBef>
                <a:spcPts val="1125"/>
              </a:spcBef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spcBef>
                <a:spcPts val="1125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spcBef>
                <a:spcPts val="1125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477433" y="2917203"/>
            <a:ext cx="3642784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601413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312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4529613" y="1570038"/>
            <a:ext cx="312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8091984" y="1570038"/>
            <a:ext cx="312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76160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2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4547953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4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8090487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5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0490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809781" y="1570038"/>
            <a:ext cx="3402203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05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83638" y="1570038"/>
            <a:ext cx="5711383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200000"/>
              <a:buFontTx/>
              <a:buBlip>
                <a:blip r:embed="rId3"/>
              </a:buBlip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857250" indent="-171450">
              <a:buSzPct val="100000"/>
              <a:buFont typeface="Lucida Grande"/>
              <a:buChar char="&gt;"/>
              <a:defRPr sz="105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527795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72872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0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4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6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59275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07239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41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141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95467" y="2692170"/>
            <a:ext cx="9601132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644764" y="4742396"/>
            <a:ext cx="8195653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96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5706533" y="692696"/>
            <a:ext cx="6028267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7581902" y="2276872"/>
            <a:ext cx="415290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8179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23068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821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3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3.gi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528455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2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0" y="1563000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cxnSp>
        <p:nvCxnSpPr>
          <p:cNvPr id="16" name="Connecteur droit 15"/>
          <p:cNvCxnSpPr/>
          <p:nvPr/>
        </p:nvCxnSpPr>
        <p:spPr>
          <a:xfrm>
            <a:off x="970262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68927" y="651448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z="800" smtClean="0"/>
              <a:pPr/>
              <a:t>‹#›</a:t>
            </a:fld>
            <a:r>
              <a:rPr lang="fr-FR" sz="800"/>
              <a:t>   |  </a:t>
            </a:r>
          </a:p>
        </p:txBody>
      </p:sp>
      <p:pic>
        <p:nvPicPr>
          <p:cNvPr id="1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51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54" r:id="rId2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99688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58" y="1562999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6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-100555" y="6512987"/>
            <a:ext cx="941684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54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7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6" y="1563001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3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7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203187" y="650876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0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850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85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342900" rtl="0" eaLnBrk="1" latinLnBrk="0" hangingPunct="1">
        <a:spcBef>
          <a:spcPct val="0"/>
        </a:spcBef>
        <a:buNone/>
        <a:defRPr sz="15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18"/>
        </a:buBlip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1463" indent="0" algn="l" defTabSz="342900" rtl="0" eaLnBrk="1" latinLnBrk="0" hangingPunct="1">
        <a:spcBef>
          <a:spcPct val="20000"/>
        </a:spcBef>
        <a:buFont typeface="Arial"/>
        <a:buNone/>
        <a:defRPr sz="135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2679" indent="-201216" algn="l" defTabSz="3429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2679" indent="0" algn="l" defTabSz="3429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01266" indent="-128588" algn="l" defTabSz="3429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8456FD7-BB91-4376-9F54-57A4192F7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Rebasing</a:t>
            </a:r>
            <a:r>
              <a:rPr lang="fr-FR" dirty="0"/>
              <a:t> Made Simp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52C0768-302F-4A6A-A9FF-BED7B68BC5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824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0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0" idx="4"/>
            <a:endCxn id="53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2" idx="4"/>
            <a:endCxn id="60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7260965" y="2835934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_branch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4995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4995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5723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_branch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08053" y="3346128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08053" y="4146005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781938" y="2545995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781939" y="1747356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338912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66" grpId="0" animBg="1"/>
      <p:bldP spid="68" grpId="0" animBg="1"/>
      <p:bldP spid="71" grpId="0" animBg="1"/>
      <p:bldP spid="22" grpId="0" animBg="1"/>
      <p:bldP spid="22" grpId="1" animBg="1"/>
      <p:bldP spid="25" grpId="0" animBg="1"/>
      <p:bldP spid="25" grpId="1" animBg="1"/>
      <p:bldP spid="24" grpId="0" animBg="1"/>
      <p:bldP spid="24" grpId="1" animBg="1"/>
      <p:bldP spid="26" grpId="0" animBg="1"/>
      <p:bldP spid="26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1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0" idx="4"/>
            <a:endCxn id="53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2" idx="4"/>
            <a:endCxn id="60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4995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4995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5723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_branch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08053" y="3346128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08053" y="4146005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9169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2" grpId="0" animBg="1"/>
      <p:bldP spid="22" grpId="0" animBg="1"/>
      <p:bldP spid="22" grpId="1" animBg="1"/>
      <p:bldP spid="25" grpId="0" animBg="1"/>
      <p:bldP spid="25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garbage-collects</a:t>
            </a:r>
            <a:br>
              <a:rPr lang="en-US" dirty="0"/>
            </a:br>
            <a:r>
              <a:rPr lang="en-US" dirty="0"/>
              <a:t>unreachable </a:t>
            </a:r>
            <a:r>
              <a:rPr lang="en-US" dirty="0" smtClean="0"/>
              <a:t>objects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1495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3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23" name="Group 22"/>
          <p:cNvGrpSpPr/>
          <p:nvPr/>
        </p:nvGrpSpPr>
        <p:grpSpPr>
          <a:xfrm>
            <a:off x="5856466" y="2581575"/>
            <a:ext cx="1879698" cy="3345760"/>
            <a:chOff x="4819023" y="2581575"/>
            <a:chExt cx="1879698" cy="334576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xmlns="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xmlns="" id="{AEF8D433-30C4-4661-9F69-97B852EC189C}"/>
                </a:ext>
              </a:extLst>
            </p:cNvPr>
            <p:cNvCxnSpPr>
              <a:cxnSpLocks/>
              <a:stCxn id="24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2079" y="2581575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28" idx="4"/>
              <a:endCxn id="36" idx="0"/>
            </p:cNvCxnSpPr>
            <p:nvPr/>
          </p:nvCxnSpPr>
          <p:spPr>
            <a:xfrm>
              <a:off x="5758872" y="2935160"/>
              <a:ext cx="763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4819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30" idx="4"/>
              <a:endCxn id="24" idx="0"/>
            </p:cNvCxnSpPr>
            <p:nvPr/>
          </p:nvCxnSpPr>
          <p:spPr>
            <a:xfrm>
              <a:off x="4995816" y="4536673"/>
              <a:ext cx="763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4819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32" idx="4"/>
              <a:endCxn id="30" idx="0"/>
            </p:cNvCxnSpPr>
            <p:nvPr/>
          </p:nvCxnSpPr>
          <p:spPr>
            <a:xfrm>
              <a:off x="4995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6345136" y="4183088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34" idx="4"/>
              <a:endCxn id="24" idx="0"/>
            </p:cNvCxnSpPr>
            <p:nvPr/>
          </p:nvCxnSpPr>
          <p:spPr>
            <a:xfrm flipH="1">
              <a:off x="5758873" y="4536673"/>
              <a:ext cx="763056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6345136" y="3384449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36" idx="4"/>
              <a:endCxn id="34" idx="0"/>
            </p:cNvCxnSpPr>
            <p:nvPr/>
          </p:nvCxnSpPr>
          <p:spPr>
            <a:xfrm>
              <a:off x="6521929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28" idx="4"/>
              <a:endCxn id="32" idx="0"/>
            </p:cNvCxnSpPr>
            <p:nvPr/>
          </p:nvCxnSpPr>
          <p:spPr>
            <a:xfrm flipH="1">
              <a:off x="4995816" y="2935160"/>
              <a:ext cx="763056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/>
          <p:cNvGrpSpPr/>
          <p:nvPr/>
        </p:nvGrpSpPr>
        <p:grpSpPr>
          <a:xfrm>
            <a:off x="4455837" y="1784441"/>
            <a:ext cx="354642" cy="4142894"/>
            <a:chOff x="5581023" y="1784441"/>
            <a:chExt cx="354642" cy="4142894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xmlns="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xmlns="" id="{AEF8D433-30C4-4661-9F69-97B852EC189C}"/>
                </a:ext>
              </a:extLst>
            </p:cNvPr>
            <p:cNvCxnSpPr>
              <a:cxnSpLocks/>
              <a:stCxn id="40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xmlns="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43" idx="4"/>
              <a:endCxn id="40" idx="0"/>
            </p:cNvCxnSpPr>
            <p:nvPr/>
          </p:nvCxnSpPr>
          <p:spPr>
            <a:xfrm>
              <a:off x="5757816" y="4536673"/>
              <a:ext cx="1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44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45" idx="4"/>
              <a:endCxn id="43" idx="0"/>
            </p:cNvCxnSpPr>
            <p:nvPr/>
          </p:nvCxnSpPr>
          <p:spPr>
            <a:xfrm>
              <a:off x="5757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Oval 46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2581575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47" idx="4"/>
              <a:endCxn id="45" idx="0"/>
            </p:cNvCxnSpPr>
            <p:nvPr/>
          </p:nvCxnSpPr>
          <p:spPr>
            <a:xfrm>
              <a:off x="5757816" y="2935160"/>
              <a:ext cx="0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Oval 48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1784441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49" idx="4"/>
              <a:endCxn id="47" idx="0"/>
            </p:cNvCxnSpPr>
            <p:nvPr/>
          </p:nvCxnSpPr>
          <p:spPr>
            <a:xfrm>
              <a:off x="5757816" y="2138026"/>
              <a:ext cx="0" cy="44354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35524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Merg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4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23" name="Group 22"/>
          <p:cNvGrpSpPr/>
          <p:nvPr/>
        </p:nvGrpSpPr>
        <p:grpSpPr>
          <a:xfrm>
            <a:off x="5156151" y="2581575"/>
            <a:ext cx="1879698" cy="3345760"/>
            <a:chOff x="4819023" y="2581575"/>
            <a:chExt cx="1879698" cy="334576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xmlns="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xmlns="" id="{AEF8D433-30C4-4661-9F69-97B852EC189C}"/>
                </a:ext>
              </a:extLst>
            </p:cNvPr>
            <p:cNvCxnSpPr>
              <a:cxnSpLocks/>
              <a:stCxn id="24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2079" y="2581575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28" idx="4"/>
              <a:endCxn id="36" idx="0"/>
            </p:cNvCxnSpPr>
            <p:nvPr/>
          </p:nvCxnSpPr>
          <p:spPr>
            <a:xfrm>
              <a:off x="5758872" y="2935160"/>
              <a:ext cx="763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4819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30" idx="4"/>
              <a:endCxn id="24" idx="0"/>
            </p:cNvCxnSpPr>
            <p:nvPr/>
          </p:nvCxnSpPr>
          <p:spPr>
            <a:xfrm>
              <a:off x="4995816" y="4536673"/>
              <a:ext cx="763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4819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32" idx="4"/>
              <a:endCxn id="30" idx="0"/>
            </p:cNvCxnSpPr>
            <p:nvPr/>
          </p:nvCxnSpPr>
          <p:spPr>
            <a:xfrm>
              <a:off x="4995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6345136" y="4183088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34" idx="4"/>
              <a:endCxn id="24" idx="0"/>
            </p:cNvCxnSpPr>
            <p:nvPr/>
          </p:nvCxnSpPr>
          <p:spPr>
            <a:xfrm flipH="1">
              <a:off x="5758873" y="4536673"/>
              <a:ext cx="763056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6345136" y="3384449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36" idx="4"/>
              <a:endCxn id="34" idx="0"/>
            </p:cNvCxnSpPr>
            <p:nvPr/>
          </p:nvCxnSpPr>
          <p:spPr>
            <a:xfrm>
              <a:off x="6521929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28" idx="4"/>
              <a:endCxn id="32" idx="0"/>
            </p:cNvCxnSpPr>
            <p:nvPr/>
          </p:nvCxnSpPr>
          <p:spPr>
            <a:xfrm flipH="1">
              <a:off x="4995816" y="2935160"/>
              <a:ext cx="763056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107216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rges preserve </a:t>
            </a:r>
            <a:r>
              <a:rPr lang="en-US" dirty="0" smtClean="0"/>
              <a:t>history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2676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6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23" name="Group 22"/>
          <p:cNvGrpSpPr/>
          <p:nvPr/>
        </p:nvGrpSpPr>
        <p:grpSpPr>
          <a:xfrm>
            <a:off x="5856466" y="2581575"/>
            <a:ext cx="1879698" cy="3345760"/>
            <a:chOff x="4819023" y="2581575"/>
            <a:chExt cx="1879698" cy="334576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xmlns="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xmlns="" id="{AEF8D433-30C4-4661-9F69-97B852EC189C}"/>
                </a:ext>
              </a:extLst>
            </p:cNvPr>
            <p:cNvCxnSpPr>
              <a:cxnSpLocks/>
              <a:stCxn id="24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2079" y="2581575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28" idx="4"/>
              <a:endCxn id="36" idx="0"/>
            </p:cNvCxnSpPr>
            <p:nvPr/>
          </p:nvCxnSpPr>
          <p:spPr>
            <a:xfrm>
              <a:off x="5758872" y="2935160"/>
              <a:ext cx="763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4819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30" idx="4"/>
              <a:endCxn id="24" idx="0"/>
            </p:cNvCxnSpPr>
            <p:nvPr/>
          </p:nvCxnSpPr>
          <p:spPr>
            <a:xfrm>
              <a:off x="4995816" y="4536673"/>
              <a:ext cx="763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4819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32" idx="4"/>
              <a:endCxn id="30" idx="0"/>
            </p:cNvCxnSpPr>
            <p:nvPr/>
          </p:nvCxnSpPr>
          <p:spPr>
            <a:xfrm>
              <a:off x="4995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6345136" y="4183088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34" idx="4"/>
              <a:endCxn id="24" idx="0"/>
            </p:cNvCxnSpPr>
            <p:nvPr/>
          </p:nvCxnSpPr>
          <p:spPr>
            <a:xfrm flipH="1">
              <a:off x="5758873" y="4536673"/>
              <a:ext cx="763056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6345136" y="3384449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36" idx="4"/>
              <a:endCxn id="34" idx="0"/>
            </p:cNvCxnSpPr>
            <p:nvPr/>
          </p:nvCxnSpPr>
          <p:spPr>
            <a:xfrm>
              <a:off x="6521929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28" idx="4"/>
              <a:endCxn id="32" idx="0"/>
            </p:cNvCxnSpPr>
            <p:nvPr/>
          </p:nvCxnSpPr>
          <p:spPr>
            <a:xfrm flipH="1">
              <a:off x="4995816" y="2935160"/>
              <a:ext cx="763056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/>
          <p:cNvGrpSpPr/>
          <p:nvPr/>
        </p:nvGrpSpPr>
        <p:grpSpPr>
          <a:xfrm>
            <a:off x="4455837" y="1784441"/>
            <a:ext cx="354642" cy="4142894"/>
            <a:chOff x="5581023" y="1784441"/>
            <a:chExt cx="354642" cy="4142894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xmlns="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xmlns="" id="{AEF8D433-30C4-4661-9F69-97B852EC189C}"/>
                </a:ext>
              </a:extLst>
            </p:cNvPr>
            <p:cNvCxnSpPr>
              <a:cxnSpLocks/>
              <a:stCxn id="40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xmlns="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43" idx="4"/>
              <a:endCxn id="40" idx="0"/>
            </p:cNvCxnSpPr>
            <p:nvPr/>
          </p:nvCxnSpPr>
          <p:spPr>
            <a:xfrm>
              <a:off x="5757816" y="4536673"/>
              <a:ext cx="1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44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45" idx="4"/>
              <a:endCxn id="43" idx="0"/>
            </p:cNvCxnSpPr>
            <p:nvPr/>
          </p:nvCxnSpPr>
          <p:spPr>
            <a:xfrm>
              <a:off x="5757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Oval 46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2581575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47" idx="4"/>
              <a:endCxn id="45" idx="0"/>
            </p:cNvCxnSpPr>
            <p:nvPr/>
          </p:nvCxnSpPr>
          <p:spPr>
            <a:xfrm>
              <a:off x="5757816" y="2935160"/>
              <a:ext cx="0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Oval 48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1784441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49" idx="4"/>
              <a:endCxn id="47" idx="0"/>
            </p:cNvCxnSpPr>
            <p:nvPr/>
          </p:nvCxnSpPr>
          <p:spPr>
            <a:xfrm>
              <a:off x="5757816" y="2138026"/>
              <a:ext cx="0" cy="44354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58423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7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2" name="Group 1"/>
          <p:cNvGrpSpPr/>
          <p:nvPr/>
        </p:nvGrpSpPr>
        <p:grpSpPr>
          <a:xfrm>
            <a:off x="5581023" y="1784441"/>
            <a:ext cx="354642" cy="4142894"/>
            <a:chOff x="5581023" y="1784441"/>
            <a:chExt cx="354642" cy="4142894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xmlns="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xmlns="" id="{AEF8D433-30C4-4661-9F69-97B852EC189C}"/>
                </a:ext>
              </a:extLst>
            </p:cNvPr>
            <p:cNvCxnSpPr>
              <a:cxnSpLocks/>
              <a:stCxn id="51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xmlns="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54" idx="4"/>
              <a:endCxn id="51" idx="0"/>
            </p:cNvCxnSpPr>
            <p:nvPr/>
          </p:nvCxnSpPr>
          <p:spPr>
            <a:xfrm>
              <a:off x="5757816" y="4536673"/>
              <a:ext cx="1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56" idx="4"/>
              <a:endCxn id="54" idx="0"/>
            </p:cNvCxnSpPr>
            <p:nvPr/>
          </p:nvCxnSpPr>
          <p:spPr>
            <a:xfrm>
              <a:off x="5757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Oval 57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2581575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58" idx="4"/>
              <a:endCxn id="56" idx="0"/>
            </p:cNvCxnSpPr>
            <p:nvPr/>
          </p:nvCxnSpPr>
          <p:spPr>
            <a:xfrm>
              <a:off x="5757816" y="2935160"/>
              <a:ext cx="0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val 59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1784441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60" idx="4"/>
              <a:endCxn id="58" idx="0"/>
            </p:cNvCxnSpPr>
            <p:nvPr/>
          </p:nvCxnSpPr>
          <p:spPr>
            <a:xfrm>
              <a:off x="5757816" y="2138026"/>
              <a:ext cx="0" cy="44354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215635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bases refactor </a:t>
            </a:r>
            <a:r>
              <a:rPr lang="en-US" dirty="0" smtClean="0"/>
              <a:t>history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0124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9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2" name="Group 1"/>
          <p:cNvGrpSpPr/>
          <p:nvPr/>
        </p:nvGrpSpPr>
        <p:grpSpPr>
          <a:xfrm>
            <a:off x="5581023" y="1784441"/>
            <a:ext cx="354642" cy="4142894"/>
            <a:chOff x="5581023" y="1784441"/>
            <a:chExt cx="354642" cy="4142894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xmlns="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xmlns="" id="{AEF8D433-30C4-4661-9F69-97B852EC189C}"/>
                </a:ext>
              </a:extLst>
            </p:cNvPr>
            <p:cNvCxnSpPr>
              <a:cxnSpLocks/>
              <a:stCxn id="51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xmlns="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54" idx="4"/>
              <a:endCxn id="51" idx="0"/>
            </p:cNvCxnSpPr>
            <p:nvPr/>
          </p:nvCxnSpPr>
          <p:spPr>
            <a:xfrm>
              <a:off x="5757816" y="4536673"/>
              <a:ext cx="1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56" idx="4"/>
              <a:endCxn id="54" idx="0"/>
            </p:cNvCxnSpPr>
            <p:nvPr/>
          </p:nvCxnSpPr>
          <p:spPr>
            <a:xfrm>
              <a:off x="5757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Oval 57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2581575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58" idx="4"/>
              <a:endCxn id="56" idx="0"/>
            </p:cNvCxnSpPr>
            <p:nvPr/>
          </p:nvCxnSpPr>
          <p:spPr>
            <a:xfrm>
              <a:off x="5757816" y="2935160"/>
              <a:ext cx="0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val 59">
              <a:extLst>
                <a:ext uri="{FF2B5EF4-FFF2-40B4-BE49-F238E27FC236}">
                  <a16:creationId xmlns:a16="http://schemas.microsoft.com/office/drawing/2014/main" xmlns="" id="{78555CA8-3ABD-481D-8773-85321E6D94BC}"/>
                </a:ext>
              </a:extLst>
            </p:cNvPr>
            <p:cNvSpPr/>
            <p:nvPr/>
          </p:nvSpPr>
          <p:spPr>
            <a:xfrm>
              <a:off x="5581023" y="1784441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xmlns="" id="{A47DAD0E-84A7-48D4-BBEA-C8FA08AF368E}"/>
                </a:ext>
              </a:extLst>
            </p:cNvPr>
            <p:cNvCxnSpPr>
              <a:cxnSpLocks/>
              <a:stCxn id="60" idx="4"/>
              <a:endCxn id="58" idx="0"/>
            </p:cNvCxnSpPr>
            <p:nvPr/>
          </p:nvCxnSpPr>
          <p:spPr>
            <a:xfrm>
              <a:off x="5757816" y="2138026"/>
              <a:ext cx="0" cy="44354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85873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Two</a:t>
            </a:r>
            <a:r>
              <a:rPr lang="fr-FR" dirty="0" smtClean="0"/>
              <a:t> branch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xmlns="" id="{AEF8D433-30C4-4661-9F69-97B852EC189C}"/>
              </a:ext>
            </a:extLst>
          </p:cNvPr>
          <p:cNvCxnSpPr>
            <a:cxnSpLocks/>
            <a:stCxn id="6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9" idx="4"/>
            <a:endCxn id="6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11" idx="4"/>
            <a:endCxn id="9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13" idx="4"/>
            <a:endCxn id="6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15" idx="4"/>
            <a:endCxn id="13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Arrow: Down 32">
            <a:extLst>
              <a:ext uri="{FF2B5EF4-FFF2-40B4-BE49-F238E27FC236}">
                <a16:creationId xmlns:a16="http://schemas.microsoft.com/office/drawing/2014/main" xmlns="" id="{9B21E7A7-41FF-4722-B424-D3F89378BEB0}"/>
              </a:ext>
            </a:extLst>
          </p:cNvPr>
          <p:cNvSpPr/>
          <p:nvPr/>
        </p:nvSpPr>
        <p:spPr>
          <a:xfrm rot="16200000">
            <a:off x="4024346" y="2971301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7260965" y="2835934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ounded Rectangular Callout 19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369914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in doubt, just </a:t>
            </a:r>
            <a:r>
              <a:rPr lang="en-US" dirty="0" smtClean="0"/>
              <a:t>merge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886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has two kinds of </a:t>
            </a:r>
            <a:r>
              <a:rPr lang="en-US" dirty="0" smtClean="0"/>
              <a:t>tags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ounded Rectangular Callout 3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636667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tag is like a</a:t>
            </a:r>
            <a:br>
              <a:rPr lang="en-US" dirty="0"/>
            </a:br>
            <a:r>
              <a:rPr lang="en-US" dirty="0"/>
              <a:t>branch that doesn’t </a:t>
            </a:r>
            <a:r>
              <a:rPr lang="en-US" dirty="0" smtClean="0"/>
              <a:t>move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0041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/>
              <a:t>Git </a:t>
            </a:r>
            <a:r>
              <a:rPr lang="fr-FR" sz="2400" dirty="0" err="1"/>
              <a:t>is</a:t>
            </a:r>
            <a:r>
              <a:rPr lang="fr-FR" sz="2400" dirty="0"/>
              <a:t>…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</a:t>
            </a:r>
            <a:r>
              <a:rPr lang="fr-FR" dirty="0" err="1"/>
              <a:t>Stupid</a:t>
            </a:r>
            <a:r>
              <a:rPr lang="fr-FR" dirty="0"/>
              <a:t> Content </a:t>
            </a:r>
            <a:r>
              <a:rPr lang="fr-FR" dirty="0" err="1"/>
              <a:t>Tracker</a:t>
            </a:r>
            <a:endParaRPr lang="fr-FR" dirty="0"/>
          </a:p>
          <a:p>
            <a:endParaRPr lang="fr-FR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4969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/>
              <a:t>Git </a:t>
            </a:r>
            <a:r>
              <a:rPr lang="fr-FR" sz="2400" dirty="0" err="1"/>
              <a:t>is</a:t>
            </a:r>
            <a:r>
              <a:rPr lang="fr-FR" sz="2400" dirty="0"/>
              <a:t>…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</a:t>
            </a:r>
            <a:r>
              <a:rPr lang="fr-FR" dirty="0" err="1"/>
              <a:t>Revision</a:t>
            </a:r>
            <a:r>
              <a:rPr lang="fr-FR" dirty="0"/>
              <a:t> Control Syste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C62C63E2-C97A-4E3E-9C28-351D24FBB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500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Merg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xmlns="" id="{AEF8D433-30C4-4661-9F69-97B852EC189C}"/>
              </a:ext>
            </a:extLst>
          </p:cNvPr>
          <p:cNvCxnSpPr>
            <a:cxnSpLocks/>
            <a:stCxn id="19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5582079" y="2581575"/>
            <a:ext cx="353585" cy="35358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28575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22" idx="4"/>
            <a:endCxn id="30" idx="0"/>
          </p:cNvCxnSpPr>
          <p:nvPr/>
        </p:nvCxnSpPr>
        <p:spPr>
          <a:xfrm>
            <a:off x="5758872" y="2935160"/>
            <a:ext cx="763057" cy="449289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24" idx="4"/>
            <a:endCxn id="19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26" idx="4"/>
            <a:endCxn id="24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28" idx="4"/>
            <a:endCxn id="19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30" idx="4"/>
            <a:endCxn id="28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Arrow: Down 32">
            <a:extLst>
              <a:ext uri="{FF2B5EF4-FFF2-40B4-BE49-F238E27FC236}">
                <a16:creationId xmlns:a16="http://schemas.microsoft.com/office/drawing/2014/main" xmlns="" id="{9B21E7A7-41FF-4722-B424-D3F89378BEB0}"/>
              </a:ext>
            </a:extLst>
          </p:cNvPr>
          <p:cNvSpPr/>
          <p:nvPr/>
        </p:nvSpPr>
        <p:spPr>
          <a:xfrm rot="16200000">
            <a:off x="4024346" y="2971301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7260965" y="2835934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22" idx="4"/>
            <a:endCxn id="26" idx="0"/>
          </p:cNvCxnSpPr>
          <p:nvPr/>
        </p:nvCxnSpPr>
        <p:spPr>
          <a:xfrm flipH="1">
            <a:off x="4995816" y="2935160"/>
            <a:ext cx="763056" cy="449289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6514819" y="2037295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91694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33" grpId="0" animBg="1"/>
      <p:bldP spid="3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4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0" idx="4"/>
            <a:endCxn id="53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2" idx="4"/>
            <a:endCxn id="60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Arrow: Down 32">
            <a:extLst>
              <a:ext uri="{FF2B5EF4-FFF2-40B4-BE49-F238E27FC236}">
                <a16:creationId xmlns:a16="http://schemas.microsoft.com/office/drawing/2014/main" xmlns="" id="{9B21E7A7-41FF-4722-B424-D3F89378BEB0}"/>
              </a:ext>
            </a:extLst>
          </p:cNvPr>
          <p:cNvSpPr/>
          <p:nvPr/>
        </p:nvSpPr>
        <p:spPr>
          <a:xfrm rot="16200000">
            <a:off x="4024346" y="2971301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5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7260965" y="2835934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4995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4995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Oval 69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544996" y="4948878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1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5723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2" name="Rounded Rectangular Callout 71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813944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2" grpId="0" animBg="1"/>
      <p:bldP spid="65" grpId="0" animBg="1"/>
      <p:bldP spid="66" grpId="0" animBg="1"/>
      <p:bldP spid="68" grpId="0" animBg="1"/>
      <p:bldP spid="70" grpId="0" animBg="1"/>
      <p:bldP spid="70" grpId="1" animBg="1"/>
      <p:bldP spid="7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heckou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5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Arrow: Down 32">
            <a:extLst>
              <a:ext uri="{FF2B5EF4-FFF2-40B4-BE49-F238E27FC236}">
                <a16:creationId xmlns:a16="http://schemas.microsoft.com/office/drawing/2014/main" xmlns="" id="{9B21E7A7-41FF-4722-B424-D3F89378BEB0}"/>
              </a:ext>
            </a:extLst>
          </p:cNvPr>
          <p:cNvSpPr/>
          <p:nvPr/>
        </p:nvSpPr>
        <p:spPr>
          <a:xfrm rot="16200000">
            <a:off x="4024346" y="2971301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4995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4995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5723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431899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0DD7F"/>
                                      </p:to>
                                    </p:animClr>
                                    <p:set>
                                      <p:cBhvr>
                                        <p:cTn id="7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EF5DC"/>
                                      </p:to>
                                    </p:animClr>
                                    <p:set>
                                      <p:cBhvr>
                                        <p:cTn id="11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r>
              <a:rPr lang="fr-FR" dirty="0" smtClean="0"/>
              <a:t> (</a:t>
            </a:r>
            <a:r>
              <a:rPr lang="fr-FR" dirty="0" err="1" smtClean="0"/>
              <a:t>with</a:t>
            </a:r>
            <a:r>
              <a:rPr lang="fr-FR" dirty="0" smtClean="0"/>
              <a:t> </a:t>
            </a:r>
            <a:r>
              <a:rPr lang="fr-FR" dirty="0" err="1" smtClean="0"/>
              <a:t>Fast-forward</a:t>
            </a:r>
            <a:r>
              <a:rPr lang="fr-FR" dirty="0" smtClean="0"/>
              <a:t>)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6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Arrow: Down 32">
            <a:extLst>
              <a:ext uri="{FF2B5EF4-FFF2-40B4-BE49-F238E27FC236}">
                <a16:creationId xmlns:a16="http://schemas.microsoft.com/office/drawing/2014/main" xmlns="" id="{9B21E7A7-41FF-4722-B424-D3F89378BEB0}"/>
              </a:ext>
            </a:extLst>
          </p:cNvPr>
          <p:cNvSpPr/>
          <p:nvPr/>
        </p:nvSpPr>
        <p:spPr>
          <a:xfrm rot="16200000">
            <a:off x="4024346" y="2971301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4995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4995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5723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Arrow: Down 32">
            <a:extLst>
              <a:ext uri="{FF2B5EF4-FFF2-40B4-BE49-F238E27FC236}">
                <a16:creationId xmlns:a16="http://schemas.microsoft.com/office/drawing/2014/main" xmlns="" id="{9B21E7A7-41FF-4722-B424-D3F89378BEB0}"/>
              </a:ext>
            </a:extLst>
          </p:cNvPr>
          <p:cNvSpPr/>
          <p:nvPr/>
        </p:nvSpPr>
        <p:spPr>
          <a:xfrm rot="16200000">
            <a:off x="4024346" y="1385507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Rounded Rectangular Callout 18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6771787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1" animBg="1"/>
      <p:bldP spid="24" grpId="0" animBg="1"/>
      <p:bldP spid="1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After</a:t>
            </a:r>
            <a:r>
              <a:rPr lang="fr-FR" dirty="0" smtClean="0"/>
              <a:t> a </a:t>
            </a:r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7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5581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5757816" y="4536673"/>
            <a:ext cx="1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5581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5757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5581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5757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5581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5757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6485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Arrow: Down 32">
            <a:extLst>
              <a:ext uri="{FF2B5EF4-FFF2-40B4-BE49-F238E27FC236}">
                <a16:creationId xmlns:a16="http://schemas.microsoft.com/office/drawing/2014/main" xmlns="" id="{9B21E7A7-41FF-4722-B424-D3F89378BEB0}"/>
              </a:ext>
            </a:extLst>
          </p:cNvPr>
          <p:cNvSpPr/>
          <p:nvPr/>
        </p:nvSpPr>
        <p:spPr>
          <a:xfrm rot="16200000">
            <a:off x="4786346" y="1385507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68000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8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0" idx="4"/>
            <a:endCxn id="53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2" idx="4"/>
            <a:endCxn id="60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7260965" y="2835934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_branch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4995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4995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5723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_branch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77524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2" grpId="0" animBg="1"/>
      <p:bldP spid="65" grpId="0" animBg="1"/>
      <p:bldP spid="66" grpId="0" animBg="1"/>
      <p:bldP spid="68" grpId="0" animBg="1"/>
      <p:bldP spid="7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9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0" idx="4"/>
            <a:endCxn id="53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xmlns="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  <a:stCxn id="62" idx="4"/>
            <a:endCxn id="60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Arrow: Down 33">
            <a:extLst>
              <a:ext uri="{FF2B5EF4-FFF2-40B4-BE49-F238E27FC236}">
                <a16:creationId xmlns:a16="http://schemas.microsoft.com/office/drawing/2014/main" xmlns="" id="{1AED9871-5657-4FA9-8E6F-74E2BB2236B3}"/>
              </a:ext>
            </a:extLst>
          </p:cNvPr>
          <p:cNvSpPr/>
          <p:nvPr/>
        </p:nvSpPr>
        <p:spPr>
          <a:xfrm rot="5400000">
            <a:off x="7260965" y="2835934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_branch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08053" y="3346128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08053" y="4146005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438767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25" grpId="0" animBg="1"/>
      <p:bldP spid="25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05FBF254-8F43-482D-821C-8C7AD9F4E23B}"/>
    </a:ext>
  </a:extLst>
</a:theme>
</file>

<file path=ppt/theme/theme2.xml><?xml version="1.0" encoding="utf-8"?>
<a:theme xmlns:a="http://schemas.openxmlformats.org/drawingml/2006/main" name="1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305F7EDD-1E22-425B-A5F5-CB47BB02F8B6}"/>
    </a:ext>
  </a:extLst>
</a:theme>
</file>

<file path=ppt/theme/theme3.xml><?xml version="1.0" encoding="utf-8"?>
<a:theme xmlns:a="http://schemas.openxmlformats.org/drawingml/2006/main" name="34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12C19D37-A4E2-4A9F-A560-D6D74DDF6A7A}"/>
    </a:ext>
  </a:extLst>
</a:theme>
</file>

<file path=ppt/theme/theme4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F20084180B9E44AD928D9A8AB3689C" ma:contentTypeVersion="2" ma:contentTypeDescription="Create a new document." ma:contentTypeScope="" ma:versionID="5f842ce3792d2d894a82ea0e2dfb791b">
  <xsd:schema xmlns:xsd="http://www.w3.org/2001/XMLSchema" xmlns:xs="http://www.w3.org/2001/XMLSchema" xmlns:p="http://schemas.microsoft.com/office/2006/metadata/properties" xmlns:ns2="6e6f0a11-ea51-4914-9041-4a6fcd55b979" targetNamespace="http://schemas.microsoft.com/office/2006/metadata/properties" ma:root="true" ma:fieldsID="050a64bf2045351049015afff4474d6f" ns2:_="">
    <xsd:import namespace="6e6f0a11-ea51-4914-9041-4a6fcd55b97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6f0a11-ea51-4914-9041-4a6fcd55b9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2028EF8-D63B-42F2-9729-538DFDBCE11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9495F4B-BFDC-466D-9B0E-24D55C97E4DD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6e6f0a11-ea51-4914-9041-4a6fcd55b979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5946093-D9B3-4957-BB28-2A49A4F3A2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6f0a11-ea51-4914-9041-4a6fcd55b9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TS</Template>
  <TotalTime>1759</TotalTime>
  <Words>460</Words>
  <Application>Microsoft Office PowerPoint</Application>
  <PresentationFormat>Widescreen</PresentationFormat>
  <Paragraphs>118</Paragraphs>
  <Slides>24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Lucida Grande</vt:lpstr>
      <vt:lpstr>Arial</vt:lpstr>
      <vt:lpstr>Century Gothic</vt:lpstr>
      <vt:lpstr>Consolas</vt:lpstr>
      <vt:lpstr>Wingdings</vt:lpstr>
      <vt:lpstr>template_PPT_AXA_EN</vt:lpstr>
      <vt:lpstr>1_template_PPT_AXA_EN</vt:lpstr>
      <vt:lpstr>34_template_PPT_AXA_EN</vt:lpstr>
      <vt:lpstr>Diapositive think-cell</vt:lpstr>
      <vt:lpstr>Rebasing Made Simple</vt:lpstr>
      <vt:lpstr>Two branches</vt:lpstr>
      <vt:lpstr>Merge</vt:lpstr>
      <vt:lpstr>Rebase</vt:lpstr>
      <vt:lpstr>Checkout</vt:lpstr>
      <vt:lpstr>Rebase (with Fast-forward)</vt:lpstr>
      <vt:lpstr>After a Rebase</vt:lpstr>
      <vt:lpstr>Rebase</vt:lpstr>
      <vt:lpstr>Rebase</vt:lpstr>
      <vt:lpstr>Rebase</vt:lpstr>
      <vt:lpstr>Rebase</vt:lpstr>
      <vt:lpstr>Git garbage-collects unreachable objects.</vt:lpstr>
      <vt:lpstr>PowerPoint Presentation</vt:lpstr>
      <vt:lpstr>Merge</vt:lpstr>
      <vt:lpstr>Merges preserve history.</vt:lpstr>
      <vt:lpstr>PowerPoint Presentation</vt:lpstr>
      <vt:lpstr>Rebase</vt:lpstr>
      <vt:lpstr>Rebases refactor history.</vt:lpstr>
      <vt:lpstr>Rebase</vt:lpstr>
      <vt:lpstr>When in doubt, just merge.</vt:lpstr>
      <vt:lpstr>Git has two kinds of tags.</vt:lpstr>
      <vt:lpstr>A tag is like a branch that doesn’t move.</vt:lpstr>
      <vt:lpstr>Git is…</vt:lpstr>
      <vt:lpstr>Git is…</vt:lpstr>
    </vt:vector>
  </TitlesOfParts>
  <Company>AX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Git works</dc:title>
  <dc:creator>THERY Dominique</dc:creator>
  <cp:lastModifiedBy>Dominique THERY</cp:lastModifiedBy>
  <cp:revision>42</cp:revision>
  <cp:lastPrinted>2014-10-09T09:53:38Z</cp:lastPrinted>
  <dcterms:created xsi:type="dcterms:W3CDTF">2017-12-19T13:40:50Z</dcterms:created>
  <dcterms:modified xsi:type="dcterms:W3CDTF">2017-12-25T17:1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400448AA0A4CA40554EA1379C3E4816A205</vt:lpwstr>
  </property>
</Properties>
</file>